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26"/>
  </p:notesMasterIdLst>
  <p:handoutMasterIdLst>
    <p:handoutMasterId r:id="rId27"/>
  </p:handoutMasterIdLst>
  <p:sldIdLst>
    <p:sldId id="282" r:id="rId6"/>
    <p:sldId id="283" r:id="rId7"/>
    <p:sldId id="284" r:id="rId8"/>
    <p:sldId id="285" r:id="rId9"/>
    <p:sldId id="288" r:id="rId10"/>
    <p:sldId id="289" r:id="rId11"/>
    <p:sldId id="290" r:id="rId12"/>
    <p:sldId id="291" r:id="rId13"/>
    <p:sldId id="258" r:id="rId14"/>
    <p:sldId id="268" r:id="rId15"/>
    <p:sldId id="292" r:id="rId16"/>
    <p:sldId id="264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85"/>
            <p14:sldId id="288"/>
            <p14:sldId id="289"/>
            <p14:sldId id="290"/>
            <p14:sldId id="291"/>
            <p14:sldId id="258"/>
            <p14:sldId id="268"/>
            <p14:sldId id="292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E064CE-7C4B-4D4F-A573-426E9BB6CE82}" v="26" dt="2025-08-20T14:24:43.960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77" autoAdjust="0"/>
    <p:restoredTop sz="94828"/>
  </p:normalViewPr>
  <p:slideViewPr>
    <p:cSldViewPr snapToGrid="0">
      <p:cViewPr>
        <p:scale>
          <a:sx n="193" d="100"/>
          <a:sy n="193" d="100"/>
        </p:scale>
        <p:origin x="14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n Pirc" userId="43757fef-ef70-4c97-a7dd-75ad2fb52df6" providerId="ADAL" clId="{F77B1B1F-BB58-5535-AEC2-1FFF6BDD7717}"/>
    <pc:docChg chg="undo custSel modSld">
      <pc:chgData name="Zan Pirc" userId="43757fef-ef70-4c97-a7dd-75ad2fb52df6" providerId="ADAL" clId="{F77B1B1F-BB58-5535-AEC2-1FFF6BDD7717}" dt="2025-08-20T14:24:43.960" v="141" actId="5736"/>
      <pc:docMkLst>
        <pc:docMk/>
      </pc:docMkLst>
      <pc:sldChg chg="modSp">
        <pc:chgData name="Zan Pirc" userId="43757fef-ef70-4c97-a7dd-75ad2fb52df6" providerId="ADAL" clId="{F77B1B1F-BB58-5535-AEC2-1FFF6BDD7717}" dt="2025-08-20T14:13:48.263" v="29" actId="5736"/>
        <pc:sldMkLst>
          <pc:docMk/>
          <pc:sldMk cId="1338954379" sldId="264"/>
        </pc:sldMkLst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188" creationId="{D7114837-0857-9A71-6392-3D4BCAC9F545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201" creationId="{437FDF87-B615-7BC4-A1CE-A478EE7FBCE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8" creationId="{0F93245E-3EC4-48C8-B76A-648BAA630236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09" creationId="{E944E044-2071-FDA0-AEC4-D6B813D1D222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0" creationId="{FF408E61-CC75-568F-B864-D1247A2B0239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13" creationId="{BBA9DE64-CBCC-80A1-ECD3-DD366A3443B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0" creationId="{F4A9599E-14BC-9C22-98C9-A443319CAB6F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4" creationId="{0CE4FE0C-3A1C-3D32-82B9-8278FE02A490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46" creationId="{4D0941D4-16BC-ED30-DB82-810D71C96F9A}"/>
          </ac:spMkLst>
        </pc:spChg>
        <pc:spChg chg="mod">
          <ac:chgData name="Zan Pirc" userId="43757fef-ef70-4c97-a7dd-75ad2fb52df6" providerId="ADAL" clId="{F77B1B1F-BB58-5535-AEC2-1FFF6BDD7717}" dt="2025-08-20T14:13:48.263" v="29" actId="5736"/>
          <ac:spMkLst>
            <pc:docMk/>
            <pc:sldMk cId="1338954379" sldId="264"/>
            <ac:spMk id="358" creationId="{5A7DFCD8-0D8C-8D6C-AD4F-CDD130394D04}"/>
          </ac:spMkLst>
        </pc:spChg>
      </pc:sldChg>
      <pc:sldChg chg="modSp mod">
        <pc:chgData name="Zan Pirc" userId="43757fef-ef70-4c97-a7dd-75ad2fb52df6" providerId="ADAL" clId="{F77B1B1F-BB58-5535-AEC2-1FFF6BDD7717}" dt="2025-08-20T14:12:57.458" v="28" actId="14100"/>
        <pc:sldMkLst>
          <pc:docMk/>
          <pc:sldMk cId="1867954401" sldId="268"/>
        </pc:sldMkLst>
        <pc:spChg chg="mod">
          <ac:chgData name="Zan Pirc" userId="43757fef-ef70-4c97-a7dd-75ad2fb52df6" providerId="ADAL" clId="{F77B1B1F-BB58-5535-AEC2-1FFF6BDD7717}" dt="2025-08-20T14:12:57.458" v="28" actId="14100"/>
          <ac:spMkLst>
            <pc:docMk/>
            <pc:sldMk cId="1867954401" sldId="268"/>
            <ac:spMk id="4" creationId="{1EC3B060-98F1-A1F0-CCBC-A0A186072207}"/>
          </ac:spMkLst>
        </pc:spChg>
      </pc:sldChg>
      <pc:sldChg chg="modSp">
        <pc:chgData name="Zan Pirc" userId="43757fef-ef70-4c97-a7dd-75ad2fb52df6" providerId="ADAL" clId="{F77B1B1F-BB58-5535-AEC2-1FFF6BDD7717}" dt="2025-08-20T14:14:02.430" v="30" actId="5736"/>
        <pc:sldMkLst>
          <pc:docMk/>
          <pc:sldMk cId="3205066081" sldId="274"/>
        </pc:sldMkLst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39" creationId="{26E6EC9E-21F6-7C4E-98C1-42095ACAC9C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7" creationId="{0BB10397-D2D0-0952-D8A1-A84108F3E63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48" creationId="{559E1A72-B4E0-7489-1FF6-75493FC8258B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53" creationId="{BCF711E8-2E0D-C4A0-CFEA-525EF0733418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01" creationId="{19A199CB-3F0D-E5E4-FA7E-A2F65411D55A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16" creationId="{3ACE0946-426C-F461-61DE-9CCF1B370C84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20" creationId="{FD047EDF-ED21-BAE0-728A-BD980893CCCF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43" creationId="{C8D4864C-DCCA-6E71-EF35-5DABC2491F80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75" creationId="{42E6081B-83B1-16E4-981A-C5FFEAB16061}"/>
          </ac:spMkLst>
        </pc:spChg>
        <pc:spChg chg="mod">
          <ac:chgData name="Zan Pirc" userId="43757fef-ef70-4c97-a7dd-75ad2fb52df6" providerId="ADAL" clId="{F77B1B1F-BB58-5535-AEC2-1FFF6BDD7717}" dt="2025-08-20T14:14:02.430" v="30" actId="5736"/>
          <ac:spMkLst>
            <pc:docMk/>
            <pc:sldMk cId="3205066081" sldId="274"/>
            <ac:spMk id="181" creationId="{CB68867E-F57E-5952-00B4-52DC877CFDC7}"/>
          </ac:spMkLst>
        </pc:spChg>
      </pc:sldChg>
      <pc:sldChg chg="modSp mod">
        <pc:chgData name="Zan Pirc" userId="43757fef-ef70-4c97-a7dd-75ad2fb52df6" providerId="ADAL" clId="{F77B1B1F-BB58-5535-AEC2-1FFF6BDD7717}" dt="2025-08-20T14:21:49.465" v="90" actId="5736"/>
        <pc:sldMkLst>
          <pc:docMk/>
          <pc:sldMk cId="2820640849" sldId="275"/>
        </pc:sldMkLst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" creationId="{7F2489DC-83AB-07C8-6EE1-E3DE19797203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" creationId="{25787BC0-7DA6-7B83-A5C7-D75622E7720F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3" creationId="{EB266BA2-E1B6-B154-336B-0E67A7F9A69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52" creationId="{0C085C67-CE36-7AF6-F47B-CEB52E891DD2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60" creationId="{B6CBAF91-0AEA-1C51-8BCA-F3797177F5BC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70" creationId="{F4BF6058-F1B5-EAED-63D1-9E78E507DB57}"/>
          </ac:spMkLst>
        </pc:spChg>
        <pc:spChg chg="mod">
          <ac:chgData name="Zan Pirc" userId="43757fef-ef70-4c97-a7dd-75ad2fb52df6" providerId="ADAL" clId="{F77B1B1F-BB58-5535-AEC2-1FFF6BDD7717}" dt="2025-08-20T14:21:34.718" v="89" actId="20577"/>
          <ac:spMkLst>
            <pc:docMk/>
            <pc:sldMk cId="2820640849" sldId="275"/>
            <ac:spMk id="161" creationId="{7C29DB11-3C07-C5B1-6710-F03C902D5668}"/>
          </ac:spMkLst>
        </pc:spChg>
        <pc:spChg chg="mod">
          <ac:chgData name="Zan Pirc" userId="43757fef-ef70-4c97-a7dd-75ad2fb52df6" providerId="ADAL" clId="{F77B1B1F-BB58-5535-AEC2-1FFF6BDD7717}" dt="2025-08-20T14:03:42.970" v="1" actId="14100"/>
          <ac:spMkLst>
            <pc:docMk/>
            <pc:sldMk cId="2820640849" sldId="275"/>
            <ac:spMk id="163" creationId="{9FA1CC21-5E25-E2CE-178E-7176F2EC41A8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180" creationId="{24EAC7D1-F3D5-299B-F369-C34ED542CB70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51" creationId="{F7C96E6A-38DD-45FA-C433-0E62AF73CC1B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270" creationId="{AA567C38-6464-6887-9D61-14FEBB30BC9A}"/>
          </ac:spMkLst>
        </pc:spChg>
        <pc:spChg chg="mod">
          <ac:chgData name="Zan Pirc" userId="43757fef-ef70-4c97-a7dd-75ad2fb52df6" providerId="ADAL" clId="{F77B1B1F-BB58-5535-AEC2-1FFF6BDD7717}" dt="2025-08-20T14:21:49.465" v="90" actId="5736"/>
          <ac:spMkLst>
            <pc:docMk/>
            <pc:sldMk cId="2820640849" sldId="275"/>
            <ac:spMk id="302" creationId="{FA791C83-88FB-9A8C-7C09-03AC54DFAA20}"/>
          </ac:spMkLst>
        </pc:spChg>
        <pc:spChg chg="mod">
          <ac:chgData name="Zan Pirc" userId="43757fef-ef70-4c97-a7dd-75ad2fb52df6" providerId="ADAL" clId="{F77B1B1F-BB58-5535-AEC2-1FFF6BDD7717}" dt="2025-08-20T14:21:29.122" v="87" actId="20577"/>
          <ac:spMkLst>
            <pc:docMk/>
            <pc:sldMk cId="2820640849" sldId="275"/>
            <ac:spMk id="312" creationId="{25599D35-1AF9-F801-0BF8-B2C4DACC51F6}"/>
          </ac:spMkLst>
        </pc:spChg>
      </pc:sldChg>
      <pc:sldChg chg="addSp modSp mod modNotesTx">
        <pc:chgData name="Zan Pirc" userId="43757fef-ef70-4c97-a7dd-75ad2fb52df6" providerId="ADAL" clId="{F77B1B1F-BB58-5535-AEC2-1FFF6BDD7717}" dt="2025-08-20T14:22:37.373" v="113" actId="5736"/>
        <pc:sldMkLst>
          <pc:docMk/>
          <pc:sldMk cId="1612006183" sldId="276"/>
        </pc:sldMkLst>
        <pc:spChg chg="add mod">
          <ac:chgData name="Zan Pirc" userId="43757fef-ef70-4c97-a7dd-75ad2fb52df6" providerId="ADAL" clId="{F77B1B1F-BB58-5535-AEC2-1FFF6BDD7717}" dt="2025-08-20T14:17:43.229" v="76" actId="767"/>
          <ac:spMkLst>
            <pc:docMk/>
            <pc:sldMk cId="1612006183" sldId="276"/>
            <ac:spMk id="2" creationId="{368B8BC9-0DD1-B6D0-E8D4-F10D6F36E0C1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67" creationId="{55743EB4-717D-D696-A810-4935C455C69D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35" creationId="{99CA4A20-D97B-E7C4-3816-B880BE897AE8}"/>
          </ac:spMkLst>
        </pc:spChg>
        <pc:spChg chg="mod">
          <ac:chgData name="Zan Pirc" userId="43757fef-ef70-4c97-a7dd-75ad2fb52df6" providerId="ADAL" clId="{F77B1B1F-BB58-5535-AEC2-1FFF6BDD7717}" dt="2025-08-20T14:22:18.658" v="112" actId="20577"/>
          <ac:spMkLst>
            <pc:docMk/>
            <pc:sldMk cId="1612006183" sldId="276"/>
            <ac:spMk id="161" creationId="{04FB4C99-2831-083F-12EE-10112A266A3A}"/>
          </ac:spMkLst>
        </pc:spChg>
        <pc:spChg chg="mod">
          <ac:chgData name="Zan Pirc" userId="43757fef-ef70-4c97-a7dd-75ad2fb52df6" providerId="ADAL" clId="{F77B1B1F-BB58-5535-AEC2-1FFF6BDD7717}" dt="2025-08-20T14:03:38.916" v="0" actId="14100"/>
          <ac:spMkLst>
            <pc:docMk/>
            <pc:sldMk cId="1612006183" sldId="276"/>
            <ac:spMk id="163" creationId="{FA3D0DDA-3629-0DF3-43B7-BC382FC2AFEA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84" creationId="{136369F1-188F-B866-61AC-6830A01D3EC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198" creationId="{F4BE491F-A75A-A400-ADBE-AE3A40C5F6B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03" creationId="{714617C6-9FDC-3485-80FC-2DE0732BD590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24" creationId="{F98E4025-7BE7-EC2F-9D1B-FDBDDB4F6EBC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230" creationId="{8FA7B9E8-9B60-A5B8-5C36-828C469510DC}"/>
          </ac:spMkLst>
        </pc:spChg>
        <pc:spChg chg="mod">
          <ac:chgData name="Zan Pirc" userId="43757fef-ef70-4c97-a7dd-75ad2fb52df6" providerId="ADAL" clId="{F77B1B1F-BB58-5535-AEC2-1FFF6BDD7717}" dt="2025-08-20T14:22:04.924" v="106" actId="20577"/>
          <ac:spMkLst>
            <pc:docMk/>
            <pc:sldMk cId="1612006183" sldId="276"/>
            <ac:spMk id="312" creationId="{2C878E06-74F0-D3E5-36CE-1FC6AF9DE635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22" creationId="{7B8103CE-AAA7-CB28-54AD-F87E23D45D7F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49" creationId="{B81E29D4-0E0B-DEF6-4181-68E51EF05443}"/>
          </ac:spMkLst>
        </pc:spChg>
        <pc:spChg chg="mod">
          <ac:chgData name="Zan Pirc" userId="43757fef-ef70-4c97-a7dd-75ad2fb52df6" providerId="ADAL" clId="{F77B1B1F-BB58-5535-AEC2-1FFF6BDD7717}" dt="2025-08-20T14:22:37.373" v="113" actId="5736"/>
          <ac:spMkLst>
            <pc:docMk/>
            <pc:sldMk cId="1612006183" sldId="276"/>
            <ac:spMk id="354" creationId="{383C377E-21E3-8E50-611E-F1C56FC2449E}"/>
          </ac:spMkLst>
        </pc:spChg>
      </pc:sldChg>
      <pc:sldChg chg="modSp mod">
        <pc:chgData name="Zan Pirc" userId="43757fef-ef70-4c97-a7dd-75ad2fb52df6" providerId="ADAL" clId="{F77B1B1F-BB58-5535-AEC2-1FFF6BDD7717}" dt="2025-08-20T14:23:12.875" v="126" actId="5736"/>
        <pc:sldMkLst>
          <pc:docMk/>
          <pc:sldMk cId="348334011" sldId="277"/>
        </pc:sldMkLst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39" creationId="{1182DF12-14CD-54C2-28FF-6F5BC66AF541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55" creationId="{2222F874-0B7D-AD07-6515-0E8E66673429}"/>
          </ac:spMkLst>
        </pc:spChg>
        <pc:spChg chg="mod">
          <ac:chgData name="Zan Pirc" userId="43757fef-ef70-4c97-a7dd-75ad2fb52df6" providerId="ADAL" clId="{F77B1B1F-BB58-5535-AEC2-1FFF6BDD7717}" dt="2025-08-20T14:22:58.505" v="125" actId="20577"/>
          <ac:spMkLst>
            <pc:docMk/>
            <pc:sldMk cId="348334011" sldId="277"/>
            <ac:spMk id="161" creationId="{4A96BB85-2A82-E0BF-F5F5-8636BEE72901}"/>
          </ac:spMkLst>
        </pc:spChg>
        <pc:spChg chg="mod">
          <ac:chgData name="Zan Pirc" userId="43757fef-ef70-4c97-a7dd-75ad2fb52df6" providerId="ADAL" clId="{F77B1B1F-BB58-5535-AEC2-1FFF6BDD7717}" dt="2025-08-20T14:03:49.607" v="2" actId="14100"/>
          <ac:spMkLst>
            <pc:docMk/>
            <pc:sldMk cId="348334011" sldId="277"/>
            <ac:spMk id="163" creationId="{226CCDE0-E6DE-8EC2-4DFE-4B8466A648D9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176" creationId="{CE78C199-E9B2-BD71-D5B1-E1A764BB13E6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08" creationId="{40B1CB07-3C59-88B0-3B9A-C3340A9286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16" creationId="{8CF5E4BE-1415-B634-C43D-FDB417803D65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227" creationId="{0711E97C-E176-E6CE-6F8D-3E10430CF106}"/>
          </ac:spMkLst>
        </pc:spChg>
        <pc:spChg chg="mod">
          <ac:chgData name="Zan Pirc" userId="43757fef-ef70-4c97-a7dd-75ad2fb52df6" providerId="ADAL" clId="{F77B1B1F-BB58-5535-AEC2-1FFF6BDD7717}" dt="2025-08-20T14:22:48.079" v="119" actId="20577"/>
          <ac:spMkLst>
            <pc:docMk/>
            <pc:sldMk cId="348334011" sldId="277"/>
            <ac:spMk id="312" creationId="{3EE3149B-8B63-3593-E560-D46FF79DF743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26" creationId="{B1B12D96-5A64-0442-3E06-D0681111FADD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31" creationId="{48BCB75D-F1F5-77BD-6586-9898EEB7209A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49" creationId="{0391FCBB-D18E-2D54-FC6A-84AAA5A72F2E}"/>
          </ac:spMkLst>
        </pc:spChg>
        <pc:spChg chg="mod">
          <ac:chgData name="Zan Pirc" userId="43757fef-ef70-4c97-a7dd-75ad2fb52df6" providerId="ADAL" clId="{F77B1B1F-BB58-5535-AEC2-1FFF6BDD7717}" dt="2025-08-20T14:23:12.875" v="126" actId="5736"/>
          <ac:spMkLst>
            <pc:docMk/>
            <pc:sldMk cId="348334011" sldId="277"/>
            <ac:spMk id="373" creationId="{2FA1D959-27D0-DA8D-1FE6-8F5BE6A57788}"/>
          </ac:spMkLst>
        </pc:spChg>
      </pc:sldChg>
      <pc:sldChg chg="modSp mod">
        <pc:chgData name="Zan Pirc" userId="43757fef-ef70-4c97-a7dd-75ad2fb52df6" providerId="ADAL" clId="{F77B1B1F-BB58-5535-AEC2-1FFF6BDD7717}" dt="2025-08-20T14:23:49.070" v="133" actId="5736"/>
        <pc:sldMkLst>
          <pc:docMk/>
          <pc:sldMk cId="31834924" sldId="278"/>
        </pc:sldMkLst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1" creationId="{531205EF-D9A2-F34A-3318-759869E360E4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40" creationId="{F79AE757-6240-774E-303E-B269FF3943F2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52" creationId="{9539E660-7C51-5CB9-5CDA-B5AF2276BD15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35" creationId="{24DDCEA1-7CE7-29F8-FEEA-EB3D0AF1DFDD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59" creationId="{32BD96AB-67A1-63A6-849B-6FA76C4279E7}"/>
          </ac:spMkLst>
        </pc:spChg>
        <pc:spChg chg="mod">
          <ac:chgData name="Zan Pirc" userId="43757fef-ef70-4c97-a7dd-75ad2fb52df6" providerId="ADAL" clId="{F77B1B1F-BB58-5535-AEC2-1FFF6BDD7717}" dt="2025-08-20T14:03:57.278" v="3" actId="14100"/>
          <ac:spMkLst>
            <pc:docMk/>
            <pc:sldMk cId="31834924" sldId="278"/>
            <ac:spMk id="163" creationId="{04313551-D399-A510-5071-C045EA753A97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182" creationId="{16091A9C-E7F5-2306-58D5-F6FAFC0D6AC1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10" creationId="{4D241A28-D0D2-4BFB-0384-C8F44FA1CA18}"/>
          </ac:spMkLst>
        </pc:spChg>
        <pc:spChg chg="mod">
          <ac:chgData name="Zan Pirc" userId="43757fef-ef70-4c97-a7dd-75ad2fb52df6" providerId="ADAL" clId="{F77B1B1F-BB58-5535-AEC2-1FFF6BDD7717}" dt="2025-08-20T14:23:32.137" v="132" actId="20577"/>
          <ac:spMkLst>
            <pc:docMk/>
            <pc:sldMk cId="31834924" sldId="278"/>
            <ac:spMk id="312" creationId="{90C054A5-8F41-86E0-0B23-908D261A22D0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2" creationId="{4B87198E-E06E-F609-5F4E-636D9F90ADFC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28" creationId="{314C4500-2CDF-D07D-97AE-0CF0B7A530CF}"/>
          </ac:spMkLst>
        </pc:spChg>
        <pc:spChg chg="mod">
          <ac:chgData name="Zan Pirc" userId="43757fef-ef70-4c97-a7dd-75ad2fb52df6" providerId="ADAL" clId="{F77B1B1F-BB58-5535-AEC2-1FFF6BDD7717}" dt="2025-08-20T14:23:49.070" v="133" actId="5736"/>
          <ac:spMkLst>
            <pc:docMk/>
            <pc:sldMk cId="31834924" sldId="278"/>
            <ac:spMk id="335" creationId="{C1D0C72B-E31D-66A5-8275-AA648813CF37}"/>
          </ac:spMkLst>
        </pc:spChg>
      </pc:sldChg>
      <pc:sldChg chg="modSp mod">
        <pc:chgData name="Zan Pirc" userId="43757fef-ef70-4c97-a7dd-75ad2fb52df6" providerId="ADAL" clId="{F77B1B1F-BB58-5535-AEC2-1FFF6BDD7717}" dt="2025-08-20T14:19:09.906" v="80" actId="5736"/>
        <pc:sldMkLst>
          <pc:docMk/>
          <pc:sldMk cId="1707578414" sldId="279"/>
        </pc:sldMkLst>
        <pc:spChg chg="mod">
          <ac:chgData name="Zan Pirc" userId="43757fef-ef70-4c97-a7dd-75ad2fb52df6" providerId="ADAL" clId="{F77B1B1F-BB58-5535-AEC2-1FFF6BDD7717}" dt="2025-08-20T14:04:31.545" v="8" actId="14100"/>
          <ac:spMkLst>
            <pc:docMk/>
            <pc:sldMk cId="1707578414" sldId="279"/>
            <ac:spMk id="4" creationId="{3F71D502-76A5-3483-0B27-193D3A06BF7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8" creationId="{7E284C2D-4BD6-34B4-5270-0D0D05D5D256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5" creationId="{4BAC2611-719A-320D-57DA-45C30CC8EC0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29" creationId="{010C1EE7-32BE-2E52-A041-0DB9B887D2E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4" creationId="{BC004CBA-3299-DFBF-080F-5CB3056E7D0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38" creationId="{F06AA23C-29F0-42B2-C4C2-994982DBD04C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43" creationId="{065D8E62-8DE1-4DF3-A4FA-DEE07787F9C7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58" creationId="{DDBC88FB-4277-7BE7-28FF-19EFC2BE2732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67" creationId="{A838FB0B-48D4-74F7-0794-DD4FE4A37E71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76" creationId="{C9A0259D-4D12-366F-73B3-0BC324CBB4B9}"/>
          </ac:spMkLst>
        </pc:spChg>
        <pc:spChg chg="mod">
          <ac:chgData name="Zan Pirc" userId="43757fef-ef70-4c97-a7dd-75ad2fb52df6" providerId="ADAL" clId="{F77B1B1F-BB58-5535-AEC2-1FFF6BDD7717}" dt="2025-08-20T14:19:09.906" v="80" actId="5736"/>
          <ac:spMkLst>
            <pc:docMk/>
            <pc:sldMk cId="1707578414" sldId="279"/>
            <ac:spMk id="183" creationId="{C9465705-A3EB-BF27-5B35-5CE8583C7BF7}"/>
          </ac:spMkLst>
        </pc:spChg>
      </pc:sldChg>
      <pc:sldChg chg="modSp mod">
        <pc:chgData name="Zan Pirc" userId="43757fef-ef70-4c97-a7dd-75ad2fb52df6" providerId="ADAL" clId="{F77B1B1F-BB58-5535-AEC2-1FFF6BDD7717}" dt="2025-08-20T14:24:28.874" v="140" actId="5736"/>
        <pc:sldMkLst>
          <pc:docMk/>
          <pc:sldMk cId="1031070699" sldId="280"/>
        </pc:sldMkLst>
        <pc:spChg chg="mod">
          <ac:chgData name="Zan Pirc" userId="43757fef-ef70-4c97-a7dd-75ad2fb52df6" providerId="ADAL" clId="{F77B1B1F-BB58-5535-AEC2-1FFF6BDD7717}" dt="2025-08-20T14:23:57.977" v="139" actId="20577"/>
          <ac:spMkLst>
            <pc:docMk/>
            <pc:sldMk cId="1031070699" sldId="280"/>
            <ac:spMk id="4" creationId="{4700166D-9111-27C0-586F-754645F7428C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0" creationId="{126CEC1F-7160-D058-4EE2-48F8F5DDCD4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3" creationId="{AF2D3C5A-1A7F-ED8E-07AE-E5299BDB1A6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29" creationId="{947EB48F-CD25-475E-A7F4-FC027D34DABE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7" creationId="{79AB889E-43C5-AA44-9FF3-758FA1ABB178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39" creationId="{AA709C2D-B170-A2FF-9AD4-4E3E2211DEDD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47" creationId="{50B8E151-C69D-F511-D693-58352AF686E3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53" creationId="{4303A567-F464-2705-D676-941B755BFF11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78" creationId="{3875B43B-F665-C9CD-CDCA-791A9C86E094}"/>
          </ac:spMkLst>
        </pc:spChg>
        <pc:spChg chg="mod">
          <ac:chgData name="Zan Pirc" userId="43757fef-ef70-4c97-a7dd-75ad2fb52df6" providerId="ADAL" clId="{F77B1B1F-BB58-5535-AEC2-1FFF6BDD7717}" dt="2025-08-20T14:04:35.684" v="9" actId="14100"/>
          <ac:spMkLst>
            <pc:docMk/>
            <pc:sldMk cId="1031070699" sldId="280"/>
            <ac:spMk id="163" creationId="{66A8C2A3-2390-AD71-09A5-C0424FE973C7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65" creationId="{6DF24F6A-8429-DE68-E57E-23F05E0CB81A}"/>
          </ac:spMkLst>
        </pc:spChg>
        <pc:spChg chg="mod">
          <ac:chgData name="Zan Pirc" userId="43757fef-ef70-4c97-a7dd-75ad2fb52df6" providerId="ADAL" clId="{F77B1B1F-BB58-5535-AEC2-1FFF6BDD7717}" dt="2025-08-20T14:24:28.874" v="140" actId="5736"/>
          <ac:spMkLst>
            <pc:docMk/>
            <pc:sldMk cId="1031070699" sldId="280"/>
            <ac:spMk id="183" creationId="{63CBE894-FA03-99BB-CA28-83ABC7BFDB06}"/>
          </ac:spMkLst>
        </pc:spChg>
      </pc:sldChg>
      <pc:sldChg chg="modSp mod">
        <pc:chgData name="Zan Pirc" userId="43757fef-ef70-4c97-a7dd-75ad2fb52df6" providerId="ADAL" clId="{F77B1B1F-BB58-5535-AEC2-1FFF6BDD7717}" dt="2025-08-20T14:24:43.960" v="141" actId="5736"/>
        <pc:sldMkLst>
          <pc:docMk/>
          <pc:sldMk cId="3307403129" sldId="281"/>
        </pc:sldMkLst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" creationId="{6BD2A3CB-1E99-6281-7F41-88B54C679324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24" creationId="{51DBB60F-C84D-EADE-6A35-0B26DFE38843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51" creationId="{52A73705-31B8-6543-8FB9-454AD0B03D0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95" creationId="{92E5A65E-576D-02CD-560B-33DF510E668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11" creationId="{53B98DB0-FC09-68F8-FECE-59D369E123B5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39" creationId="{76E394DA-F278-1660-3462-7A79D1C2FAAD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63" creationId="{AAD642EA-C3D5-8330-EA3A-EA48B79645E8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76" creationId="{207FE4D1-B2C5-E603-97D3-201DA04C8A4E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85" creationId="{6426B072-3E92-BC0E-0B47-F0CF17C25EF9}"/>
          </ac:spMkLst>
        </pc:spChg>
        <pc:spChg chg="mod">
          <ac:chgData name="Zan Pirc" userId="43757fef-ef70-4c97-a7dd-75ad2fb52df6" providerId="ADAL" clId="{F77B1B1F-BB58-5535-AEC2-1FFF6BDD7717}" dt="2025-08-20T14:24:43.960" v="141" actId="5736"/>
          <ac:spMkLst>
            <pc:docMk/>
            <pc:sldMk cId="3307403129" sldId="281"/>
            <ac:spMk id="195" creationId="{C32399AF-4804-9F30-D072-08F4507F4876}"/>
          </ac:spMkLst>
        </pc:spChg>
      </pc:sldChg>
      <pc:sldChg chg="modSp">
        <pc:chgData name="Zan Pirc" userId="43757fef-ef70-4c97-a7dd-75ad2fb52df6" providerId="ADAL" clId="{F77B1B1F-BB58-5535-AEC2-1FFF6BDD7717}" dt="2025-08-20T14:09:20.733" v="11" actId="5736"/>
        <pc:sldMkLst>
          <pc:docMk/>
          <pc:sldMk cId="2345159433" sldId="288"/>
        </pc:sldMkLst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6" creationId="{EF185466-1792-3FC4-09E9-CD8B6C8BA48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27" creationId="{475A9C86-5C78-120B-E247-20A2B696D21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75" creationId="{521DB92E-7367-1C16-EB6C-03AE9D44A6D6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1" creationId="{5158B2EB-8439-2B9B-A4D1-9F45CEA4B12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23" creationId="{AA658459-2C34-C09B-6BB9-BEB4CCEF5603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4" creationId="{F4725238-D510-0C6E-EE01-5C976A6AEDA7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38" creationId="{42902CA6-B10E-EFD3-6A26-85A40000CCEF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46" creationId="{00774ACC-1FF0-D955-D83F-588D69F3804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4" creationId="{EEF0CF98-A4A4-9254-632D-F60426A753D8}"/>
          </ac:spMkLst>
        </pc:spChg>
        <pc:spChg chg="mod">
          <ac:chgData name="Zan Pirc" userId="43757fef-ef70-4c97-a7dd-75ad2fb52df6" providerId="ADAL" clId="{F77B1B1F-BB58-5535-AEC2-1FFF6BDD7717}" dt="2025-08-20T14:09:20.733" v="11" actId="5736"/>
          <ac:spMkLst>
            <pc:docMk/>
            <pc:sldMk cId="2345159433" sldId="288"/>
            <ac:spMk id="155" creationId="{EB4F9A8A-D056-4647-D414-0479C61162BF}"/>
          </ac:spMkLst>
        </pc:spChg>
      </pc:sldChg>
      <pc:sldChg chg="modSp mod">
        <pc:chgData name="Zan Pirc" userId="43757fef-ef70-4c97-a7dd-75ad2fb52df6" providerId="ADAL" clId="{F77B1B1F-BB58-5535-AEC2-1FFF6BDD7717}" dt="2025-08-20T14:10:20.315" v="14" actId="14100"/>
        <pc:sldMkLst>
          <pc:docMk/>
          <pc:sldMk cId="22065959" sldId="289"/>
        </pc:sldMkLst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8" creationId="{AD819662-94A2-A1CC-8538-17F4B730E9E9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0" creationId="{1E9DC7A7-D484-83F1-9B2A-B5D230FD37A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2" creationId="{A532A3BD-2120-8AF4-C7A0-A3F8AC4DD2FB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" creationId="{44854DBF-833A-E3CB-8888-23FAFAA4EF7E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25" creationId="{CF24D1C5-F157-9298-62C0-940B87C1184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37" creationId="{7E688344-CF8D-5ED4-5B18-33C733C62BEF}"/>
          </ac:spMkLst>
        </pc:spChg>
        <pc:spChg chg="mod">
          <ac:chgData name="Zan Pirc" userId="43757fef-ef70-4c97-a7dd-75ad2fb52df6" providerId="ADAL" clId="{F77B1B1F-BB58-5535-AEC2-1FFF6BDD7717}" dt="2025-08-20T14:10:20.315" v="14" actId="14100"/>
          <ac:spMkLst>
            <pc:docMk/>
            <pc:sldMk cId="22065959" sldId="289"/>
            <ac:spMk id="57" creationId="{70B48219-7B46-B414-9556-E80F5D913C0C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39" creationId="{E311955A-6064-9B4B-BF1E-8065925DA3D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4" creationId="{A6991173-A409-52E3-FB10-92D0FB5159CA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48" creationId="{6314A5B3-8E62-0BD7-23B1-1723829A88BD}"/>
          </ac:spMkLst>
        </pc:spChg>
        <pc:spChg chg="mod">
          <ac:chgData name="Zan Pirc" userId="43757fef-ef70-4c97-a7dd-75ad2fb52df6" providerId="ADAL" clId="{F77B1B1F-BB58-5535-AEC2-1FFF6BDD7717}" dt="2025-08-20T14:09:52.039" v="12" actId="5736"/>
          <ac:spMkLst>
            <pc:docMk/>
            <pc:sldMk cId="22065959" sldId="289"/>
            <ac:spMk id="155" creationId="{F6A8D31C-78F0-5061-0C9A-26C916A6E64A}"/>
          </ac:spMkLst>
        </pc:spChg>
      </pc:sldChg>
      <pc:sldChg chg="modSp mod">
        <pc:chgData name="Zan Pirc" userId="43757fef-ef70-4c97-a7dd-75ad2fb52df6" providerId="ADAL" clId="{F77B1B1F-BB58-5535-AEC2-1FFF6BDD7717}" dt="2025-08-20T14:11:19.024" v="16" actId="5736"/>
        <pc:sldMkLst>
          <pc:docMk/>
          <pc:sldMk cId="1121351270" sldId="290"/>
        </pc:sldMkLst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" creationId="{72B1DDD3-75F2-C55D-0209-EDC6A201B2DB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" creationId="{7AC578BA-5DDF-9A13-0822-A11A3619D468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5" creationId="{705DF5B5-1EBD-3BFA-D063-259E1FAEFB46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29" creationId="{DA504C74-CA4B-6C97-8CB0-19551427699E}"/>
          </ac:spMkLst>
        </pc:spChg>
        <pc:spChg chg="mod">
          <ac:chgData name="Zan Pirc" userId="43757fef-ef70-4c97-a7dd-75ad2fb52df6" providerId="ADAL" clId="{F77B1B1F-BB58-5535-AEC2-1FFF6BDD7717}" dt="2025-08-20T14:10:14.735" v="13" actId="14100"/>
          <ac:spMkLst>
            <pc:docMk/>
            <pc:sldMk cId="1121351270" sldId="290"/>
            <ac:spMk id="57" creationId="{F3AD766D-28B9-DE8B-4FC1-FB6061F8580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76" creationId="{9EB3EA25-983E-8AC4-4922-D25BA6DF44BF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36" creationId="{6A6B23D3-248C-AF5F-D774-645FDCDED580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2" creationId="{B82A3222-C3D6-2492-6278-797EB002026E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49" creationId="{40BD410D-80EA-3B5D-4385-4E5920270514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50" creationId="{7D4A0D5D-A246-45ED-4EDC-AAAD21B4F263}"/>
          </ac:spMkLst>
        </pc:spChg>
        <pc:spChg chg="mod">
          <ac:chgData name="Zan Pirc" userId="43757fef-ef70-4c97-a7dd-75ad2fb52df6" providerId="ADAL" clId="{F77B1B1F-BB58-5535-AEC2-1FFF6BDD7717}" dt="2025-08-20T14:11:19.024" v="16" actId="5736"/>
          <ac:spMkLst>
            <pc:docMk/>
            <pc:sldMk cId="1121351270" sldId="290"/>
            <ac:spMk id="165" creationId="{1F3F2BE8-576A-37A8-F4E3-EC4E91D9AEC7}"/>
          </ac:spMkLst>
        </pc:spChg>
      </pc:sldChg>
      <pc:sldChg chg="modSp mod">
        <pc:chgData name="Zan Pirc" userId="43757fef-ef70-4c97-a7dd-75ad2fb52df6" providerId="ADAL" clId="{F77B1B1F-BB58-5535-AEC2-1FFF6BDD7717}" dt="2025-08-20T14:11:48.769" v="18" actId="5736"/>
        <pc:sldMkLst>
          <pc:docMk/>
          <pc:sldMk cId="1212926122" sldId="291"/>
        </pc:sldMkLst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8" creationId="{2C7EC010-A7DE-05C2-3148-56854E1E68C3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25" creationId="{0FCEE18C-E5A8-6606-0719-BF650A0635D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37" creationId="{D1E55D1E-2789-E4D1-DAF3-6048898FC5C5}"/>
          </ac:spMkLst>
        </pc:spChg>
        <pc:spChg chg="mod">
          <ac:chgData name="Zan Pirc" userId="43757fef-ef70-4c97-a7dd-75ad2fb52df6" providerId="ADAL" clId="{F77B1B1F-BB58-5535-AEC2-1FFF6BDD7717}" dt="2025-08-20T14:11:32.408" v="17" actId="14100"/>
          <ac:spMkLst>
            <pc:docMk/>
            <pc:sldMk cId="1212926122" sldId="291"/>
            <ac:spMk id="57" creationId="{13C9A78F-54B8-0808-A73D-E594D66B9E3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74" creationId="{84B4F505-595D-0F4B-5FFA-3A0442FFC2CC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5" creationId="{6063E725-58CB-22F8-D0E2-80A1C9339DA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37" creationId="{18075E2E-0913-B949-13AF-802CF98BF339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6" creationId="{EA44AE67-B6C8-D2C2-A4F5-69CA68503F7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7" creationId="{6A5A0E2A-0B6A-90BB-C325-BD8E23347797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48" creationId="{5B945A77-FA95-4047-381F-98709E1E2D9D}"/>
          </ac:spMkLst>
        </pc:spChg>
        <pc:spChg chg="mod">
          <ac:chgData name="Zan Pirc" userId="43757fef-ef70-4c97-a7dd-75ad2fb52df6" providerId="ADAL" clId="{F77B1B1F-BB58-5535-AEC2-1FFF6BDD7717}" dt="2025-08-20T14:11:48.769" v="18" actId="5736"/>
          <ac:spMkLst>
            <pc:docMk/>
            <pc:sldMk cId="1212926122" sldId="291"/>
            <ac:spMk id="153" creationId="{34F6BAD2-1ED2-70A0-83BC-E6D9DE11B5F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0.08.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0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egration-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puris-</a:t>
            </a:r>
            <a:r>
              <a:rPr lang="en-GB" sz="1200" kern="1200" dirty="0" err="1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dcm</a:t>
            </a:r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-integrated-application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 dirty="0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20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3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21.emf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png"/><Relationship Id="rId26" Type="http://schemas.openxmlformats.org/officeDocument/2006/relationships/image" Target="../media/image93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90.svg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5" Type="http://schemas.openxmlformats.org/officeDocument/2006/relationships/image" Target="../media/image9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tags" Target="../tags/tag15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1.png"/><Relationship Id="rId5" Type="http://schemas.openxmlformats.org/officeDocument/2006/relationships/image" Target="../media/image21.emf"/><Relationship Id="rId15" Type="http://schemas.openxmlformats.org/officeDocument/2006/relationships/image" Target="../media/image84.svg"/><Relationship Id="rId23" Type="http://schemas.openxmlformats.org/officeDocument/2006/relationships/image" Target="../media/image41.svg"/><Relationship Id="rId10" Type="http://schemas.openxmlformats.org/officeDocument/2006/relationships/image" Target="../media/image79.png"/><Relationship Id="rId19" Type="http://schemas.openxmlformats.org/officeDocument/2006/relationships/image" Target="../media/image88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8.svg"/><Relationship Id="rId14" Type="http://schemas.openxmlformats.org/officeDocument/2006/relationships/image" Target="../media/image83.png"/><Relationship Id="rId22" Type="http://schemas.openxmlformats.org/officeDocument/2006/relationships/image" Target="../media/image40.png"/><Relationship Id="rId27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38.png"/><Relationship Id="rId26" Type="http://schemas.openxmlformats.org/officeDocument/2006/relationships/image" Target="../media/image111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106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31.svg"/><Relationship Id="rId25" Type="http://schemas.openxmlformats.org/officeDocument/2006/relationships/image" Target="../media/image11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09.png"/><Relationship Id="rId5" Type="http://schemas.openxmlformats.org/officeDocument/2006/relationships/image" Target="../media/image21.emf"/><Relationship Id="rId15" Type="http://schemas.openxmlformats.org/officeDocument/2006/relationships/image" Target="../media/image104.svg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image" Target="../media/image99.png"/><Relationship Id="rId19" Type="http://schemas.openxmlformats.org/officeDocument/2006/relationships/image" Target="../media/image39.svg"/><Relationship Id="rId31" Type="http://schemas.openxmlformats.org/officeDocument/2006/relationships/image" Target="../media/image116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6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31.svg"/><Relationship Id="rId34" Type="http://schemas.openxmlformats.org/officeDocument/2006/relationships/image" Target="../media/image10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5.svg"/><Relationship Id="rId33" Type="http://schemas.openxmlformats.org/officeDocument/2006/relationships/image" Target="../media/image10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0.png"/><Relationship Id="rId29" Type="http://schemas.openxmlformats.org/officeDocument/2006/relationships/image" Target="../media/image139.svg"/><Relationship Id="rId1" Type="http://schemas.openxmlformats.org/officeDocument/2006/relationships/tags" Target="../tags/tag17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4.png"/><Relationship Id="rId32" Type="http://schemas.openxmlformats.org/officeDocument/2006/relationships/image" Target="../media/image142.sv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3.svg"/><Relationship Id="rId28" Type="http://schemas.openxmlformats.org/officeDocument/2006/relationships/image" Target="../media/image138.pn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41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2.png"/><Relationship Id="rId27" Type="http://schemas.openxmlformats.org/officeDocument/2006/relationships/image" Target="../media/image137.svg"/><Relationship Id="rId30" Type="http://schemas.openxmlformats.org/officeDocument/2006/relationships/image" Target="../media/image140.svg"/><Relationship Id="rId8" Type="http://schemas.openxmlformats.org/officeDocument/2006/relationships/image" Target="../media/image1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8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7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2.png"/><Relationship Id="rId29" Type="http://schemas.openxmlformats.org/officeDocument/2006/relationships/image" Target="../media/image141.svg"/><Relationship Id="rId1" Type="http://schemas.openxmlformats.org/officeDocument/2006/relationships/tags" Target="../tags/tag18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6.pn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5.svg"/><Relationship Id="rId28" Type="http://schemas.openxmlformats.org/officeDocument/2006/relationships/image" Target="../media/image140.sv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0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4.png"/><Relationship Id="rId27" Type="http://schemas.openxmlformats.org/officeDocument/2006/relationships/image" Target="../media/image139.svg"/><Relationship Id="rId30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19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20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40.svg"/><Relationship Id="rId18" Type="http://schemas.openxmlformats.org/officeDocument/2006/relationships/image" Target="../media/image132.png"/><Relationship Id="rId26" Type="http://schemas.openxmlformats.org/officeDocument/2006/relationships/image" Target="../media/image144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7.png"/><Relationship Id="rId17" Type="http://schemas.openxmlformats.org/officeDocument/2006/relationships/image" Target="../media/image126.svg"/><Relationship Id="rId25" Type="http://schemas.openxmlformats.org/officeDocument/2006/relationships/image" Target="../media/image14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5.png"/><Relationship Id="rId20" Type="http://schemas.openxmlformats.org/officeDocument/2006/relationships/image" Target="../media/image134.png"/><Relationship Id="rId1" Type="http://schemas.openxmlformats.org/officeDocument/2006/relationships/tags" Target="../tags/tag21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20.svg"/><Relationship Id="rId5" Type="http://schemas.openxmlformats.org/officeDocument/2006/relationships/image" Target="../media/image21.emf"/><Relationship Id="rId15" Type="http://schemas.openxmlformats.org/officeDocument/2006/relationships/image" Target="../media/image141.svg"/><Relationship Id="rId23" Type="http://schemas.openxmlformats.org/officeDocument/2006/relationships/image" Target="../media/image11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29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0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5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2.png"/><Relationship Id="rId29" Type="http://schemas.openxmlformats.org/officeDocument/2006/relationships/image" Target="../media/image148.svg"/><Relationship Id="rId1" Type="http://schemas.openxmlformats.org/officeDocument/2006/relationships/tags" Target="../tags/tag22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51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6.svg"/><Relationship Id="rId28" Type="http://schemas.openxmlformats.org/officeDocument/2006/relationships/image" Target="../media/image147.png"/><Relationship Id="rId10" Type="http://schemas.openxmlformats.org/officeDocument/2006/relationships/image" Target="../media/image123.png"/><Relationship Id="rId19" Type="http://schemas.openxmlformats.org/officeDocument/2006/relationships/image" Target="../media/image131.svg"/><Relationship Id="rId31" Type="http://schemas.openxmlformats.org/officeDocument/2006/relationships/image" Target="../media/image15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5.png"/><Relationship Id="rId27" Type="http://schemas.openxmlformats.org/officeDocument/2006/relationships/image" Target="../media/image31.svg"/><Relationship Id="rId30" Type="http://schemas.openxmlformats.org/officeDocument/2006/relationships/image" Target="../media/image149.png"/><Relationship Id="rId8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3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4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>
            <a:spLocks/>
          </p:cNvSpPr>
          <p:nvPr/>
        </p:nvSpPr>
        <p:spPr>
          <a:xfrm>
            <a:off x="2006600" y="342900"/>
            <a:ext cx="8166100" cy="55626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2424223" y="941835"/>
            <a:ext cx="7343554" cy="488274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659607" y="702602"/>
            <a:ext cx="11201716" cy="420964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744278" y="418214"/>
            <a:ext cx="10930271" cy="628738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1" y="711998"/>
            <a:ext cx="10718800" cy="5935235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983374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538312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166012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890931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71805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114722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 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860962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Simulated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2AD2F8E-0664-B0A3-6483-84E87C06F082}"/>
              </a:ext>
            </a:extLst>
          </p:cNvPr>
          <p:cNvSpPr txBox="1"/>
          <p:nvPr/>
        </p:nvSpPr>
        <p:spPr>
          <a:xfrm>
            <a:off x="2409473" y="6341050"/>
            <a:ext cx="2875877" cy="247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CM Demand [</a:t>
            </a:r>
            <a:r>
              <a:rPr lang="de-DE" sz="9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stumer</a:t>
            </a:r>
            <a:r>
              <a:rPr lang="de-DE" sz="9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]: </a:t>
            </a:r>
            <a:r>
              <a:rPr lang="en-US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he weekly values shown are based on the aggregation of demand per part variant.</a:t>
            </a:r>
            <a:r>
              <a:rPr lang="de-DE" sz="900" i="1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1247552" y="340242"/>
            <a:ext cx="9654363" cy="569196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62350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413538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1233378" y="347330"/>
            <a:ext cx="9698400" cy="571322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574603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61746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1247551" y="375684"/>
            <a:ext cx="9698400" cy="566967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14977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508609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8B8BC9-0DD1-B6D0-E8D4-F10D6F36E0C1}"/>
              </a:ext>
            </a:extLst>
          </p:cNvPr>
          <p:cNvSpPr txBox="1"/>
          <p:nvPr/>
        </p:nvSpPr>
        <p:spPr>
          <a:xfrm>
            <a:off x="2531165" y="720918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SI" dirty="0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1254642" y="320728"/>
            <a:ext cx="9698400" cy="572463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185592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523623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1305142" y="510362"/>
            <a:ext cx="9698400" cy="266522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711263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custom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production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62">
            <a:extLst>
              <a:ext uri="{FF2B5EF4-FFF2-40B4-BE49-F238E27FC236}">
                <a16:creationId xmlns:a16="http://schemas.microsoft.com/office/drawing/2014/main" id="{3F71D502-76A5-3483-0B27-193D3A06BF7C}"/>
              </a:ext>
            </a:extLst>
          </p:cNvPr>
          <p:cNvSpPr>
            <a:spLocks/>
          </p:cNvSpPr>
          <p:nvPr/>
        </p:nvSpPr>
        <p:spPr>
          <a:xfrm>
            <a:off x="1027813" y="375684"/>
            <a:ext cx="9874800" cy="3267739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32349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/>
          </p:cNvSpPr>
          <p:nvPr/>
        </p:nvSpPr>
        <p:spPr>
          <a:xfrm>
            <a:off x="1013637" y="375684"/>
            <a:ext cx="9874800" cy="328900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451306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1651000" y="1485900"/>
            <a:ext cx="9499600" cy="36195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1768952" y="1783882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1893384" y="1598145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6347249" y="2242406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C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6513358" y="428389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4286593" y="3263630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5149240" y="4284854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3782575" y="4282158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5765197" y="342900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4876738" y="3795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104175" y="2573146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7107613" y="358090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5025895" y="359437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5175052" y="394449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4379206" y="394449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6958456" y="328258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/>
          </p:cNvSpPr>
          <p:nvPr/>
        </p:nvSpPr>
        <p:spPr>
          <a:xfrm>
            <a:off x="1013637" y="163033"/>
            <a:ext cx="9874800" cy="583546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983471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99858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6">
            <a:extLst>
              <a:ext uri="{FF2B5EF4-FFF2-40B4-BE49-F238E27FC236}">
                <a16:creationId xmlns:a16="http://schemas.microsoft.com/office/drawing/2014/main" id="{408B5C20-E801-AA1A-1FA5-7C88132ACEA9}"/>
              </a:ext>
            </a:extLst>
          </p:cNvPr>
          <p:cNvSpPr/>
          <p:nvPr/>
        </p:nvSpPr>
        <p:spPr>
          <a:xfrm>
            <a:off x="1358900" y="1270000"/>
            <a:ext cx="9525000" cy="3683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1455945" y="155766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1580377" y="137193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0495" y="319186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1462" y="324403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33577" y="351095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92429" y="344717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6919" y="340113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5993" y="198106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19799" y="188140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1690495" y="391643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4791462" y="390951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7892429" y="391643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7153571" y="185508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4052856" y="185610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6113193" y="289546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56">
            <a:extLst>
              <a:ext uri="{FF2B5EF4-FFF2-40B4-BE49-F238E27FC236}">
                <a16:creationId xmlns:a16="http://schemas.microsoft.com/office/drawing/2014/main" id="{BBA66418-4FE8-D3BB-A596-32ACEE583168}"/>
              </a:ext>
            </a:extLst>
          </p:cNvPr>
          <p:cNvSpPr/>
          <p:nvPr/>
        </p:nvSpPr>
        <p:spPr>
          <a:xfrm>
            <a:off x="680936" y="194553"/>
            <a:ext cx="11031166" cy="60635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743341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867773" y="266230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228670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748584" y="266230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1097299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560239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566590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2029530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2035881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498821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50517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96811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96176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42470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431053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893993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1097299" y="1960499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1097299" y="986035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1097299" y="2649478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894748" y="786092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827678" y="2692101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793723" y="2177728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759543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76589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228834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698125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16741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62400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1093297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296603" y="1867280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296603" y="892816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296603" y="2556259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8136730" y="704743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1093297" y="264947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993027" y="2084509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22883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698126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167416" y="101409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636707" y="103144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277553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5055885" y="98502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5102780" y="1629178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537190" y="172453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754723" y="3185516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259727" y="3191462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1155636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618576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624927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2087867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2094218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557158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56350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302644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302009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48303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489390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952330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1155636" y="5442555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1155636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1155636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953085" y="393720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866193" y="5515335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815234" y="444961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815050" y="4462114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284340" y="442417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747279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218104" y="442255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685860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1105997" y="441175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345757" y="5328835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345757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345757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185884" y="394907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175010" y="545117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284340" y="4439907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744105" y="4396109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216570" y="441867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685861" y="4395892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352108" y="447323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1142451" y="584817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721740" y="3930897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590637" y="3987894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591170" y="3648635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780795" y="3620289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827430" y="3739945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828620" y="3105039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5098601" y="449618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5145496" y="5140343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572634" y="5240639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901369" y="5866411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841440" y="5537640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1035300" y="5451176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8018047" y="5451176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213692" y="5340727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7903" y="1081280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9262" y="4612252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50282" y="-2166025"/>
            <a:ext cx="12141718" cy="870867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322117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617998" y="86786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161413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552364" y="86151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3809341" y="1512127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075922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1849157" y="2533351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2711804" y="35545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345139" y="355187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27761" y="2698721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439302" y="306506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65141" y="1842867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70177" y="2850623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588459" y="2864091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37616" y="3214218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41770" y="3214217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426795" y="2433402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711832" y="3202035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6666439" y="1511161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6928934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8861367" y="2532386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303646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9678358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376407" y="254859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451512" y="305921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21439" y="1841901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25564" y="2846913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74721" y="2697756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00669" y="2863126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49826" y="3208368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00276" y="3208367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575687" y="2454579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287900" y="3234282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697472"/>
              </p:ext>
            </p:extLst>
          </p:nvPr>
        </p:nvGraphicFramePr>
        <p:xfrm>
          <a:off x="1323511" y="4469787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1816969" y="409183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185096" y="41068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546840" y="4092073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402227" y="408330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8770354" y="409835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132098" y="40835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274401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586239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3971830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6859659" y="414090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154226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501993" y="418144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521020" y="255230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301535" y="461189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6955692" y="5451694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140664" y="3488198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1729325" y="3558475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90382" y="826001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1757543" y="878264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5929678" y="416389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152533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1705292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322117" y="639835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437" y="-2089607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613490" y="45805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607722" y="505623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2943647" y="503804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2933059" y="460047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240144" y="458599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8651435" y="45711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304480" y="507476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608437" y="46172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605230" y="505972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6918971" y="46078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221415" y="461365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221415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358750" y="508176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605322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9738781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58981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9727153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986448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047552" y="496006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010659" y="4516185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576742" y="497662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235966" y="547383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428703" y="6033722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428703" y="6309305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213682" y="6033722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213682" y="6309305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256704" y="311285"/>
            <a:ext cx="11797200" cy="5735136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336000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631881" y="37163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175296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566247" y="36528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3823224" y="1015896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089805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1863040" y="2037120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2725687" y="30583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359022" y="3055648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1644" y="220249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453185" y="256883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79024" y="1346636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84060" y="235439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02342" y="236786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1499" y="271798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55653" y="271798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440678" y="1937171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725715" y="2705804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6680322" y="1014930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6942817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8875250" y="2036155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317529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9692241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390290" y="205236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465395" y="256298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35322" y="1345670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39447" y="2350682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88604" y="2201525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14552" y="2366895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63709" y="2712137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14159" y="2712136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589570" y="1958348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301783" y="2738051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445375"/>
              </p:ext>
            </p:extLst>
          </p:nvPr>
        </p:nvGraphicFramePr>
        <p:xfrm>
          <a:off x="1337394" y="3973556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1830852" y="35955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198979" y="36106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560723" y="359584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416110" y="35870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8784237" y="360212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145981" y="358731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288284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600122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3985713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6873542" y="364466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168109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515876" y="368521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534903" y="205607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315418" y="411566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6969575" y="4955463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627373" y="40843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621605" y="456000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2957530" y="454180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2946942" y="410424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254027" y="408976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8665318" y="40749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318363" y="457853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622320" y="41210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619113" y="45634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6932854" y="41116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235298" y="411742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235298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372633" y="458553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619205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9752664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60370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9741036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987837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061435" y="446383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024542" y="4019954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590625" y="448039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249849" y="497760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442586" y="5537491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442586" y="5813074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227565" y="5537491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227565" y="5813074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245794" y="285345"/>
            <a:ext cx="11797200" cy="5756337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346909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642790" y="3668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186205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577156" y="3605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3834133" y="101115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100714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1873949" y="203238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2736596" y="30536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369931" y="3050910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52553" y="219775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464094" y="25640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9933" y="134189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4969" y="234965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3251" y="236312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62408" y="271324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6562" y="271324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451587" y="193243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736624" y="270106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6691231" y="101019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6953726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8886159" y="203141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328438" y="30575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9703150" y="305750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401199" y="204763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476304" y="25582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6231" y="134093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50356" y="234594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9513" y="219678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5461" y="236215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4618" y="270739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5068" y="270739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600479" y="195361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312692" y="273331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211265"/>
              </p:ext>
            </p:extLst>
          </p:nvPr>
        </p:nvGraphicFramePr>
        <p:xfrm>
          <a:off x="1348303" y="396881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1841761" y="359086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209888" y="360591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571632" y="359110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427019" y="358233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8795146" y="359738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156890" y="35825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299193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611031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3996622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6884451" y="3639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179018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526785" y="368047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545812" y="2051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326327" y="411092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6980484" y="495072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638282" y="40795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632514" y="455526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2968439" y="453707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2957851" y="409950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264936" y="408502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8676227" y="40701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329272" y="45737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633229" y="41163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630022" y="455875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6943763" y="41069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246207" y="411268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246207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383542" y="458079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630114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9763573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61461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9751945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988928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072344" y="445909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035451" y="401521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601534" y="447565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260758" y="497286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453495" y="553275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453495" y="580833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238474" y="553275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238474" y="580833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248423" y="304800"/>
            <a:ext cx="11797200" cy="574283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344279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640160" y="3728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183575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574526" y="3664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3831503" y="101710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098084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1871319" y="203833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2733966" y="30595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367301" y="305686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9923" y="220370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461464" y="25700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7303" y="134784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2339" y="235560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0621" y="236907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9778" y="271919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3932" y="271919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448957" y="193838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733994" y="270701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6688601" y="101614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6951096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8883529" y="203736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325808" y="30634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9700520" y="306345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398569" y="205358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473674" y="25641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3601" y="134688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47726" y="235189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6883" y="220273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2831" y="236810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1988" y="271334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2438" y="271334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597849" y="195956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310062" y="273926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350102"/>
              </p:ext>
            </p:extLst>
          </p:nvPr>
        </p:nvGraphicFramePr>
        <p:xfrm>
          <a:off x="1345673" y="397476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1839131" y="359681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207258" y="361186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569002" y="359705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424389" y="358828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8792516" y="360333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154260" y="358853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296563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608401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3993992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6881821" y="36458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176388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524155" y="368642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543182" y="205729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323697" y="41168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6977854" y="495667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635652" y="40855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629884" y="456121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2965809" y="454302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2955221" y="410545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262306" y="409097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8673597" y="40761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326642" y="457974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630599" y="41222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627392" y="456470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6941133" y="41128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243577" y="411863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243577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380912" y="458674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627484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9760943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61198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9749315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988665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069714" y="446504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032821" y="402116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598904" y="44816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258128" y="49788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450865" y="553870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450865" y="581428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235844" y="553870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235844" y="581428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8-20T09:28:35+00:00</RevIMDeletionDate>
    <RevIMEventDate xmlns="fc282b16-8a95-47e2-a36d-6db0797e13f9" xsi:nil="true"/>
    <RevIMExtends xmlns="fc282b16-8a95-47e2-a36d-6db0797e13f9">{"Locked":null,"LockedBy":null,"UnLocked":null,"UnLockedBy":null,"Classified":"2025-08-20T09:29:56.869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Props1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purl.org/dc/elements/1.1/"/>
    <ds:schemaRef ds:uri="http://purl.org/dc/dcmitype/"/>
    <ds:schemaRef ds:uri="b901e847-c49e-4a70-b8e5-61de17bb0deb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fc282b16-8a95-47e2-a36d-6db0797e13f9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</TotalTime>
  <Words>2383</Words>
  <Application>Microsoft Macintosh PowerPoint</Application>
  <PresentationFormat>Widescreen</PresentationFormat>
  <Paragraphs>999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ptos</vt:lpstr>
      <vt:lpstr>Arial</vt:lpstr>
      <vt:lpstr>BMWGroupTN Condensed</vt:lpstr>
      <vt:lpstr>Calibri</vt:lpstr>
      <vt:lpstr>Imago Pro Light</vt:lpstr>
      <vt:lpstr>Manrope Light</vt:lpstr>
      <vt:lpstr>Segoe UI</vt:lpstr>
      <vt:lpstr>Wingdings</vt:lpstr>
      <vt:lpstr>Office</vt:lpstr>
      <vt:lpstr>Cata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Zan Pirc</cp:lastModifiedBy>
  <cp:revision>7</cp:revision>
  <cp:lastPrinted>2023-02-20T07:18:22Z</cp:lastPrinted>
  <dcterms:created xsi:type="dcterms:W3CDTF">2022-05-09T07:37:59Z</dcterms:created>
  <dcterms:modified xsi:type="dcterms:W3CDTF">2025-08-20T14:2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ClassificationContentMarkingFooterLocations">
    <vt:lpwstr>Office:6\Catana-X PowerPoint Master:8</vt:lpwstr>
  </property>
  <property fmtid="{D5CDD505-2E9C-101B-9397-08002B2CF9AE}" pid="21" name="ClassificationContentMarkingFooterText">
    <vt:lpwstr>Public</vt:lpwstr>
  </property>
  <property fmtid="{D5CDD505-2E9C-101B-9397-08002B2CF9AE}" pid="22" name="MSIP_Label_7fac60de-59ad-46d5-88f3-f15162e80726_Enabled">
    <vt:lpwstr>true</vt:lpwstr>
  </property>
  <property fmtid="{D5CDD505-2E9C-101B-9397-08002B2CF9AE}" pid="23" name="MSIP_Label_7fac60de-59ad-46d5-88f3-f15162e80726_SetDate">
    <vt:lpwstr>2025-08-20T14:02:41Z</vt:lpwstr>
  </property>
  <property fmtid="{D5CDD505-2E9C-101B-9397-08002B2CF9AE}" pid="24" name="MSIP_Label_7fac60de-59ad-46d5-88f3-f15162e80726_Method">
    <vt:lpwstr>Privileged</vt:lpwstr>
  </property>
  <property fmtid="{D5CDD505-2E9C-101B-9397-08002B2CF9AE}" pid="25" name="MSIP_Label_7fac60de-59ad-46d5-88f3-f15162e80726_Name">
    <vt:lpwstr>Public</vt:lpwstr>
  </property>
  <property fmtid="{D5CDD505-2E9C-101B-9397-08002B2CF9AE}" pid="26" name="MSIP_Label_7fac60de-59ad-46d5-88f3-f15162e80726_SiteId">
    <vt:lpwstr>a87c7421-056b-487f-a107-afa9c7fde010</vt:lpwstr>
  </property>
  <property fmtid="{D5CDD505-2E9C-101B-9397-08002B2CF9AE}" pid="27" name="MSIP_Label_7fac60de-59ad-46d5-88f3-f15162e80726_ActionId">
    <vt:lpwstr>77af05b5-33ec-40d5-bdda-39902d7edf38</vt:lpwstr>
  </property>
  <property fmtid="{D5CDD505-2E9C-101B-9397-08002B2CF9AE}" pid="28" name="MSIP_Label_7fac60de-59ad-46d5-88f3-f15162e80726_ContentBits">
    <vt:lpwstr>2</vt:lpwstr>
  </property>
  <property fmtid="{D5CDD505-2E9C-101B-9397-08002B2CF9AE}" pid="29" name="MSIP_Label_7fac60de-59ad-46d5-88f3-f15162e80726_Tag">
    <vt:lpwstr>50, 0, 1, 1</vt:lpwstr>
  </property>
</Properties>
</file>